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2096F363-C578-4A20-9C26-B53BC4B7D964}">
          <p14:sldIdLst>
            <p14:sldId id="2147477365"/>
            <p14:sldId id="2147477366"/>
            <p14:sldId id="2147477367"/>
            <p14:sldId id="2147477368"/>
            <p14:sldId id="2147477369"/>
            <p14:sldId id="2147477370"/>
          </p14:sldIdLst>
        </p14:section>
        <p14:section name="Segments Price Correlation Analysis P3Y" id="{D9731452-755B-4E0A-8986-532D8284AC08}">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1378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1832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70760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19054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92122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7254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906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1899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915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8868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0106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5964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7783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1903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41055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0359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4028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02678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278</Words>
  <Application>Microsoft Office PowerPoint</Application>
  <PresentationFormat>On-screen Show (16:9)</PresentationFormat>
  <Paragraphs>234</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